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15338425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9696" autoAdjust="0"/>
    <p:restoredTop sz="94660"/>
  </p:normalViewPr>
  <p:slideViewPr>
    <p:cSldViewPr snapToObjects="1">
      <p:cViewPr>
        <p:scale>
          <a:sx n="100" d="100"/>
          <a:sy n="100" d="100"/>
        </p:scale>
        <p:origin x="-654" y="-648"/>
      </p:cViewPr>
      <p:guideLst>
        <p:guide orient="horz" pos="2160"/>
        <p:guide pos="483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24467D-E28A-4EDC-9EC9-F04770D0C075}" type="datetimeFigureOut">
              <a:rPr lang="de-DE" smtClean="0"/>
              <a:t>16.08.201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PowerPoint-2500x1118.pp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9DD769-B052-4AB8-B797-DEA0771FA8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94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795C85-4182-42BA-9E8D-62BAEDE7B316}" type="datetimeFigureOut">
              <a:rPr lang="de-DE" smtClean="0"/>
              <a:t>16.08.201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406400" y="685800"/>
            <a:ext cx="76708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PowerPoint-2500x1118.pptx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BCEF92-30A9-4148-9053-970CAAAB3E2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6264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06400" y="685800"/>
            <a:ext cx="76708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BCEF92-30A9-4148-9053-970CAAAB3E2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8911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414" y="75600"/>
            <a:ext cx="14877903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0414" y="6605844"/>
            <a:ext cx="3022500" cy="126000"/>
          </a:xfrm>
        </p:spPr>
        <p:txBody>
          <a:bodyPr/>
          <a:lstStyle/>
          <a:p>
            <a:fld id="{24F606BB-4AE9-4A82-B226-F1622394A8EF}" type="datetimeFigureOut">
              <a:rPr lang="de-DE" smtClean="0"/>
              <a:t>16.08.201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156375" y="6605844"/>
            <a:ext cx="3022500" cy="126000"/>
          </a:xfrm>
        </p:spPr>
        <p:txBody>
          <a:bodyPr/>
          <a:lstStyle/>
          <a:p>
            <a:r>
              <a:rPr lang="de-DE" smtClean="0"/>
              <a:t>PowerPoint-2500x1118.pp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4844417" y="6590168"/>
            <a:ext cx="283900" cy="151200"/>
          </a:xfrm>
        </p:spPr>
        <p:txBody>
          <a:bodyPr/>
          <a:lstStyle/>
          <a:p>
            <a:fld id="{A781C47F-F388-4DC5-A151-6074CD6D1375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0413" y="914400"/>
            <a:ext cx="7417212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spcBef>
                <a:spcPts val="288"/>
              </a:spcBef>
              <a:defRPr lang="en-US" smtClean="0"/>
            </a:lvl3pPr>
            <a:lvl4pPr>
              <a:spcBef>
                <a:spcPts val="288"/>
              </a:spcBef>
              <a:defRPr lang="en-US" smtClean="0"/>
            </a:lvl4pPr>
            <a:lvl5pPr>
              <a:spcBef>
                <a:spcPts val="288"/>
              </a:spcBef>
              <a:spcAft>
                <a:spcPts val="0"/>
              </a:spcAft>
              <a:defRPr lang="de-DE"/>
            </a:lvl5pPr>
            <a:lvl6pPr>
              <a:spcBef>
                <a:spcPts val="288"/>
              </a:spcBef>
              <a:spcAft>
                <a:spcPts val="0"/>
              </a:spcAft>
              <a:defRPr/>
            </a:lvl6pPr>
            <a:lvl7pPr>
              <a:spcBef>
                <a:spcPts val="288"/>
              </a:spcBef>
              <a:defRPr/>
            </a:lvl7pPr>
            <a:lvl8pPr>
              <a:spcBef>
                <a:spcPts val="288"/>
              </a:spcBef>
              <a:defRPr/>
            </a:lvl8pPr>
            <a:lvl9pPr>
              <a:spcBef>
                <a:spcPts val="288"/>
              </a:spcBef>
              <a:defRPr/>
            </a:lvl9pPr>
          </a:lstStyle>
          <a:p>
            <a:r>
              <a:rPr lang="de-DE" dirty="0" smtClean="0"/>
              <a:t>Text bearbeiten </a:t>
            </a:r>
          </a:p>
          <a:p>
            <a:pPr lvl="1"/>
            <a:r>
              <a:rPr lang="de-DE" dirty="0" smtClean="0"/>
              <a:t>Zweite Ebene 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en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881583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tags" Target="../tags/tag5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250414" y="6605844"/>
            <a:ext cx="3022500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24F606BB-4AE9-4A82-B226-F1622394A8EF}" type="datetimeFigureOut">
              <a:rPr lang="de-DE" smtClean="0"/>
              <a:pPr/>
              <a:t>16.08.201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156375" y="6605844"/>
            <a:ext cx="3022500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 algn="ctr"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 smtClean="0"/>
              <a:t>PowerPoint-2500x1118.pptx</a:t>
            </a:r>
            <a:endParaRPr lang="de-DE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50414" y="75600"/>
            <a:ext cx="14877903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>
          <a:xfrm>
            <a:off x="250413" y="914400"/>
            <a:ext cx="7417212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 smtClean="0"/>
              <a:t>Text bearbeiten </a:t>
            </a:r>
          </a:p>
          <a:p>
            <a:pPr lvl="1"/>
            <a:r>
              <a:rPr lang="de-DE" dirty="0" smtClean="0"/>
              <a:t>Zweite Ebene 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en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14844416" y="6590168"/>
            <a:ext cx="283900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781C47F-F388-4DC5-A151-6074CD6D137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128885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Blank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Berger</dc:creator>
  <cp:lastModifiedBy>Office Services</cp:lastModifiedBy>
  <cp:revision>7</cp:revision>
  <dcterms:created xsi:type="dcterms:W3CDTF">2012-08-15T13:29:20Z</dcterms:created>
  <dcterms:modified xsi:type="dcterms:W3CDTF">2012-08-16T04:54:46Z</dcterms:modified>
</cp:coreProperties>
</file>